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68" r:id="rId2"/>
    <p:sldMasterId id="2147483739" r:id="rId3"/>
    <p:sldMasterId id="2147483793" r:id="rId4"/>
  </p:sldMasterIdLst>
  <p:notesMasterIdLst>
    <p:notesMasterId r:id="rId26"/>
  </p:notesMasterIdLst>
  <p:handoutMasterIdLst>
    <p:handoutMasterId r:id="rId27"/>
  </p:handoutMasterIdLst>
  <p:sldIdLst>
    <p:sldId id="5184" r:id="rId5"/>
    <p:sldId id="5185" r:id="rId6"/>
    <p:sldId id="5187" r:id="rId7"/>
    <p:sldId id="5191" r:id="rId8"/>
    <p:sldId id="5109" r:id="rId9"/>
    <p:sldId id="5190" r:id="rId10"/>
    <p:sldId id="5193" r:id="rId11"/>
    <p:sldId id="5207" r:id="rId12"/>
    <p:sldId id="5198" r:id="rId13"/>
    <p:sldId id="5188" r:id="rId14"/>
    <p:sldId id="5202" r:id="rId15"/>
    <p:sldId id="5203" r:id="rId16"/>
    <p:sldId id="5204" r:id="rId17"/>
    <p:sldId id="5205" r:id="rId18"/>
    <p:sldId id="5196" r:id="rId19"/>
    <p:sldId id="5209" r:id="rId20"/>
    <p:sldId id="5210" r:id="rId21"/>
    <p:sldId id="5194" r:id="rId22"/>
    <p:sldId id="5206" r:id="rId23"/>
    <p:sldId id="5208" r:id="rId24"/>
    <p:sldId id="5140" r:id="rId25"/>
  </p:sldIdLst>
  <p:sldSz cx="9144000" cy="5143500" type="screen16x9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FAA5D6-6A36-0584-138D-189589A7513B}" v="805" dt="2023-07-07T09:20:48.209"/>
    <p1510:client id="{2D405B40-8549-F6B9-796C-96639B16AB91}" v="34" dt="2023-06-30T11:05:59.293"/>
    <p1510:client id="{799CBE59-9CB5-322E-7682-0FC1270A9038}" v="71" dt="2023-07-07T15:11:10.864"/>
    <p1510:client id="{B0520BD5-5249-1B86-50A0-5B6B20959EE2}" v="18" dt="2023-06-30T14:28:40.344"/>
  </p1510:revLst>
</p1510:revInfo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5760"/>
        <p:guide orient="horz" pos="172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rav, Amey Dilip (ELS-AMS)" userId="S::gurava@science.regn.net::36742cb2-ec36-421b-b574-f5c2fcd082f5" providerId="AD" clId="Web-{799CBE59-9CB5-322E-7682-0FC1270A9038}"/>
    <pc:docChg chg="modSld">
      <pc:chgData name="Gurav, Amey Dilip (ELS-AMS)" userId="S::gurava@science.regn.net::36742cb2-ec36-421b-b574-f5c2fcd082f5" providerId="AD" clId="Web-{799CBE59-9CB5-322E-7682-0FC1270A9038}" dt="2023-07-07T15:09:51.766" v="70" actId="20577"/>
      <pc:docMkLst>
        <pc:docMk/>
      </pc:docMkLst>
      <pc:sldChg chg="modSp">
        <pc:chgData name="Gurav, Amey Dilip (ELS-AMS)" userId="S::gurava@science.regn.net::36742cb2-ec36-421b-b574-f5c2fcd082f5" providerId="AD" clId="Web-{799CBE59-9CB5-322E-7682-0FC1270A9038}" dt="2023-07-07T09:42:15.016" v="26" actId="20577"/>
        <pc:sldMkLst>
          <pc:docMk/>
          <pc:sldMk cId="2462530948" sldId="5185"/>
        </pc:sldMkLst>
        <pc:spChg chg="mod">
          <ac:chgData name="Gurav, Amey Dilip (ELS-AMS)" userId="S::gurava@science.regn.net::36742cb2-ec36-421b-b574-f5c2fcd082f5" providerId="AD" clId="Web-{799CBE59-9CB5-322E-7682-0FC1270A9038}" dt="2023-07-07T09:42:15.016" v="26" actId="20577"/>
          <ac:spMkLst>
            <pc:docMk/>
            <pc:sldMk cId="2462530948" sldId="5185"/>
            <ac:spMk id="9" creationId="{7EA6C56F-23DF-EAF9-7298-FD19DEE4B371}"/>
          </ac:spMkLst>
        </pc:spChg>
      </pc:sldChg>
      <pc:sldChg chg="modSp">
        <pc:chgData name="Gurav, Amey Dilip (ELS-AMS)" userId="S::gurava@science.regn.net::36742cb2-ec36-421b-b574-f5c2fcd082f5" providerId="AD" clId="Web-{799CBE59-9CB5-322E-7682-0FC1270A9038}" dt="2023-07-07T10:16:10.539" v="36" actId="1076"/>
        <pc:sldMkLst>
          <pc:docMk/>
          <pc:sldMk cId="3027788651" sldId="5193"/>
        </pc:sldMkLst>
        <pc:spChg chg="mod">
          <ac:chgData name="Gurav, Amey Dilip (ELS-AMS)" userId="S::gurava@science.regn.net::36742cb2-ec36-421b-b574-f5c2fcd082f5" providerId="AD" clId="Web-{799CBE59-9CB5-322E-7682-0FC1270A9038}" dt="2023-07-07T10:16:10.539" v="36" actId="1076"/>
          <ac:spMkLst>
            <pc:docMk/>
            <pc:sldMk cId="3027788651" sldId="5193"/>
            <ac:spMk id="3" creationId="{43DEE0E1-A415-5AA3-7439-847DAF0A8C44}"/>
          </ac:spMkLst>
        </pc:spChg>
        <pc:picChg chg="mod">
          <ac:chgData name="Gurav, Amey Dilip (ELS-AMS)" userId="S::gurava@science.regn.net::36742cb2-ec36-421b-b574-f5c2fcd082f5" providerId="AD" clId="Web-{799CBE59-9CB5-322E-7682-0FC1270A9038}" dt="2023-07-07T10:15:54.554" v="29" actId="1076"/>
          <ac:picMkLst>
            <pc:docMk/>
            <pc:sldMk cId="3027788651" sldId="5193"/>
            <ac:picMk id="5" creationId="{453DADCD-3CF4-6D82-DFA3-AC735D75C276}"/>
          </ac:picMkLst>
        </pc:picChg>
      </pc:sldChg>
      <pc:sldChg chg="modSp">
        <pc:chgData name="Gurav, Amey Dilip (ELS-AMS)" userId="S::gurava@science.regn.net::36742cb2-ec36-421b-b574-f5c2fcd082f5" providerId="AD" clId="Web-{799CBE59-9CB5-322E-7682-0FC1270A9038}" dt="2023-07-07T15:09:51.766" v="70" actId="20577"/>
        <pc:sldMkLst>
          <pc:docMk/>
          <pc:sldMk cId="261064044" sldId="5206"/>
        </pc:sldMkLst>
        <pc:spChg chg="mod">
          <ac:chgData name="Gurav, Amey Dilip (ELS-AMS)" userId="S::gurava@science.regn.net::36742cb2-ec36-421b-b574-f5c2fcd082f5" providerId="AD" clId="Web-{799CBE59-9CB5-322E-7682-0FC1270A9038}" dt="2023-07-07T15:09:51.766" v="70" actId="20577"/>
          <ac:spMkLst>
            <pc:docMk/>
            <pc:sldMk cId="261064044" sldId="5206"/>
            <ac:spMk id="8" creationId="{9B305978-C263-D603-609E-9D9FA56A4634}"/>
          </ac:spMkLst>
        </pc:spChg>
      </pc:sldChg>
    </pc:docChg>
  </pc:docChgLst>
  <pc:docChgLst>
    <pc:chgData name="Gurav, Amey Dilip (ELS-AMS)" userId="S::gurava@science.regn.net::36742cb2-ec36-421b-b574-f5c2fcd082f5" providerId="AD" clId="Web-{2D405B40-8549-F6B9-796C-96639B16AB91}"/>
    <pc:docChg chg="modSld">
      <pc:chgData name="Gurav, Amey Dilip (ELS-AMS)" userId="S::gurava@science.regn.net::36742cb2-ec36-421b-b574-f5c2fcd082f5" providerId="AD" clId="Web-{2D405B40-8549-F6B9-796C-96639B16AB91}" dt="2023-06-30T11:05:59.199" v="31" actId="20577"/>
      <pc:docMkLst>
        <pc:docMk/>
      </pc:docMkLst>
      <pc:sldChg chg="modSp">
        <pc:chgData name="Gurav, Amey Dilip (ELS-AMS)" userId="S::gurava@science.regn.net::36742cb2-ec36-421b-b574-f5c2fcd082f5" providerId="AD" clId="Web-{2D405B40-8549-F6B9-796C-96639B16AB91}" dt="2023-06-30T11:05:59.199" v="31" actId="20577"/>
        <pc:sldMkLst>
          <pc:docMk/>
          <pc:sldMk cId="1698342939" sldId="5187"/>
        </pc:sldMkLst>
        <pc:spChg chg="mod">
          <ac:chgData name="Gurav, Amey Dilip (ELS-AMS)" userId="S::gurava@science.regn.net::36742cb2-ec36-421b-b574-f5c2fcd082f5" providerId="AD" clId="Web-{2D405B40-8549-F6B9-796C-96639B16AB91}" dt="2023-06-30T11:05:59.199" v="31" actId="20577"/>
          <ac:spMkLst>
            <pc:docMk/>
            <pc:sldMk cId="1698342939" sldId="5187"/>
            <ac:spMk id="9" creationId="{49AF0899-62D9-A87F-E176-5FFB00AD8079}"/>
          </ac:spMkLst>
        </pc:spChg>
      </pc:sldChg>
    </pc:docChg>
  </pc:docChgLst>
  <pc:docChgLst>
    <pc:chgData name="Gurav, Amey Dilip (ELS-AMS)" userId="S::gurava@science.regn.net::36742cb2-ec36-421b-b574-f5c2fcd082f5" providerId="AD" clId="Web-{B0520BD5-5249-1B86-50A0-5B6B20959EE2}"/>
    <pc:docChg chg="modSld">
      <pc:chgData name="Gurav, Amey Dilip (ELS-AMS)" userId="S::gurava@science.regn.net::36742cb2-ec36-421b-b574-f5c2fcd082f5" providerId="AD" clId="Web-{B0520BD5-5249-1B86-50A0-5B6B20959EE2}" dt="2023-06-30T14:28:40.344" v="17" actId="20577"/>
      <pc:docMkLst>
        <pc:docMk/>
      </pc:docMkLst>
      <pc:sldChg chg="modSp">
        <pc:chgData name="Gurav, Amey Dilip (ELS-AMS)" userId="S::gurava@science.regn.net::36742cb2-ec36-421b-b574-f5c2fcd082f5" providerId="AD" clId="Web-{B0520BD5-5249-1B86-50A0-5B6B20959EE2}" dt="2023-06-30T14:27:16.903" v="9" actId="20577"/>
        <pc:sldMkLst>
          <pc:docMk/>
          <pc:sldMk cId="1698342939" sldId="5187"/>
        </pc:sldMkLst>
        <pc:spChg chg="mod">
          <ac:chgData name="Gurav, Amey Dilip (ELS-AMS)" userId="S::gurava@science.regn.net::36742cb2-ec36-421b-b574-f5c2fcd082f5" providerId="AD" clId="Web-{B0520BD5-5249-1B86-50A0-5B6B20959EE2}" dt="2023-06-30T14:27:16.903" v="9" actId="20577"/>
          <ac:spMkLst>
            <pc:docMk/>
            <pc:sldMk cId="1698342939" sldId="5187"/>
            <ac:spMk id="9" creationId="{49AF0899-62D9-A87F-E176-5FFB00AD8079}"/>
          </ac:spMkLst>
        </pc:spChg>
      </pc:sldChg>
      <pc:sldChg chg="modSp">
        <pc:chgData name="Gurav, Amey Dilip (ELS-AMS)" userId="S::gurava@science.regn.net::36742cb2-ec36-421b-b574-f5c2fcd082f5" providerId="AD" clId="Web-{B0520BD5-5249-1B86-50A0-5B6B20959EE2}" dt="2023-06-30T12:03:57.785" v="1" actId="20577"/>
        <pc:sldMkLst>
          <pc:docMk/>
          <pc:sldMk cId="4037027165" sldId="5188"/>
        </pc:sldMkLst>
        <pc:spChg chg="mod">
          <ac:chgData name="Gurav, Amey Dilip (ELS-AMS)" userId="S::gurava@science.regn.net::36742cb2-ec36-421b-b574-f5c2fcd082f5" providerId="AD" clId="Web-{B0520BD5-5249-1B86-50A0-5B6B20959EE2}" dt="2023-06-30T12:03:57.785" v="1" actId="20577"/>
          <ac:spMkLst>
            <pc:docMk/>
            <pc:sldMk cId="4037027165" sldId="5188"/>
            <ac:spMk id="8" creationId="{9B305978-C263-D603-609E-9D9FA56A4634}"/>
          </ac:spMkLst>
        </pc:spChg>
      </pc:sldChg>
      <pc:sldChg chg="modSp">
        <pc:chgData name="Gurav, Amey Dilip (ELS-AMS)" userId="S::gurava@science.regn.net::36742cb2-ec36-421b-b574-f5c2fcd082f5" providerId="AD" clId="Web-{B0520BD5-5249-1B86-50A0-5B6B20959EE2}" dt="2023-06-30T14:28:40.344" v="17" actId="20577"/>
        <pc:sldMkLst>
          <pc:docMk/>
          <pc:sldMk cId="962955893" sldId="5198"/>
        </pc:sldMkLst>
        <pc:spChg chg="mod">
          <ac:chgData name="Gurav, Amey Dilip (ELS-AMS)" userId="S::gurava@science.regn.net::36742cb2-ec36-421b-b574-f5c2fcd082f5" providerId="AD" clId="Web-{B0520BD5-5249-1B86-50A0-5B6B20959EE2}" dt="2023-06-30T14:28:40.344" v="17" actId="20577"/>
          <ac:spMkLst>
            <pc:docMk/>
            <pc:sldMk cId="962955893" sldId="5198"/>
            <ac:spMk id="4" creationId="{9332EF43-B681-427C-B3D3-ACD1C14C9D29}"/>
          </ac:spMkLst>
        </pc:spChg>
      </pc:sldChg>
    </pc:docChg>
  </pc:docChgLst>
  <pc:docChgLst>
    <pc:chgData name="Smirnova, Olga (ELS-AMS)" userId="S::smirnovao@science.regn.net::ebc9cbc7-aaa3-43fd-a839-48392ece5e34" providerId="AD" clId="Web-{16FAA5D6-6A36-0584-138D-189589A7513B}"/>
    <pc:docChg chg="addSld modSld">
      <pc:chgData name="Smirnova, Olga (ELS-AMS)" userId="S::smirnovao@science.regn.net::ebc9cbc7-aaa3-43fd-a839-48392ece5e34" providerId="AD" clId="Web-{16FAA5D6-6A36-0584-138D-189589A7513B}" dt="2023-07-07T09:20:48.209" v="792" actId="20577"/>
      <pc:docMkLst>
        <pc:docMk/>
      </pc:docMkLst>
      <pc:sldChg chg="modSp">
        <pc:chgData name="Smirnova, Olga (ELS-AMS)" userId="S::smirnovao@science.regn.net::ebc9cbc7-aaa3-43fd-a839-48392ece5e34" providerId="AD" clId="Web-{16FAA5D6-6A36-0584-138D-189589A7513B}" dt="2023-07-07T09:20:48.209" v="792" actId="20577"/>
        <pc:sldMkLst>
          <pc:docMk/>
          <pc:sldMk cId="2813787957" sldId="5194"/>
        </pc:sldMkLst>
        <pc:spChg chg="mod">
          <ac:chgData name="Smirnova, Olga (ELS-AMS)" userId="S::smirnovao@science.regn.net::ebc9cbc7-aaa3-43fd-a839-48392ece5e34" providerId="AD" clId="Web-{16FAA5D6-6A36-0584-138D-189589A7513B}" dt="2023-07-07T09:20:48.209" v="792" actId="20577"/>
          <ac:spMkLst>
            <pc:docMk/>
            <pc:sldMk cId="2813787957" sldId="5194"/>
            <ac:spMk id="8" creationId="{9B305978-C263-D603-609E-9D9FA56A4634}"/>
          </ac:spMkLst>
        </pc:spChg>
      </pc:sldChg>
      <pc:sldChg chg="modSp new">
        <pc:chgData name="Smirnova, Olga (ELS-AMS)" userId="S::smirnovao@science.regn.net::ebc9cbc7-aaa3-43fd-a839-48392ece5e34" providerId="AD" clId="Web-{16FAA5D6-6A36-0584-138D-189589A7513B}" dt="2023-07-07T09:17:29.764" v="685" actId="20577"/>
        <pc:sldMkLst>
          <pc:docMk/>
          <pc:sldMk cId="310566998" sldId="5209"/>
        </pc:sldMkLst>
        <pc:spChg chg="mod">
          <ac:chgData name="Smirnova, Olga (ELS-AMS)" userId="S::smirnovao@science.regn.net::ebc9cbc7-aaa3-43fd-a839-48392ece5e34" providerId="AD" clId="Web-{16FAA5D6-6A36-0584-138D-189589A7513B}" dt="2023-07-07T09:17:29.764" v="685" actId="20577"/>
          <ac:spMkLst>
            <pc:docMk/>
            <pc:sldMk cId="310566998" sldId="5209"/>
            <ac:spMk id="2" creationId="{AAC42358-7CEF-69ED-911F-94C4624304F7}"/>
          </ac:spMkLst>
        </pc:spChg>
        <pc:spChg chg="mod">
          <ac:chgData name="Smirnova, Olga (ELS-AMS)" userId="S::smirnovao@science.regn.net::ebc9cbc7-aaa3-43fd-a839-48392ece5e34" providerId="AD" clId="Web-{16FAA5D6-6A36-0584-138D-189589A7513B}" dt="2023-07-07T08:59:15.345" v="205" actId="20577"/>
          <ac:spMkLst>
            <pc:docMk/>
            <pc:sldMk cId="310566998" sldId="5209"/>
            <ac:spMk id="3" creationId="{23D7E54E-F742-CF14-E61C-1604BA836D8B}"/>
          </ac:spMkLst>
        </pc:spChg>
      </pc:sldChg>
      <pc:sldChg chg="modSp new">
        <pc:chgData name="Smirnova, Olga (ELS-AMS)" userId="S::smirnovao@science.regn.net::ebc9cbc7-aaa3-43fd-a839-48392ece5e34" providerId="AD" clId="Web-{16FAA5D6-6A36-0584-138D-189589A7513B}" dt="2023-07-07T09:16:05.245" v="683" actId="20577"/>
        <pc:sldMkLst>
          <pc:docMk/>
          <pc:sldMk cId="1741853253" sldId="5210"/>
        </pc:sldMkLst>
        <pc:spChg chg="mod">
          <ac:chgData name="Smirnova, Olga (ELS-AMS)" userId="S::smirnovao@science.regn.net::ebc9cbc7-aaa3-43fd-a839-48392ece5e34" providerId="AD" clId="Web-{16FAA5D6-6A36-0584-138D-189589A7513B}" dt="2023-07-07T09:16:05.245" v="683" actId="20577"/>
          <ac:spMkLst>
            <pc:docMk/>
            <pc:sldMk cId="1741853253" sldId="5210"/>
            <ac:spMk id="2" creationId="{9D6CE114-5FB3-32F5-55A9-42F5A2F1E74B}"/>
          </ac:spMkLst>
        </pc:spChg>
        <pc:spChg chg="mod">
          <ac:chgData name="Smirnova, Olga (ELS-AMS)" userId="S::smirnovao@science.regn.net::ebc9cbc7-aaa3-43fd-a839-48392ece5e34" providerId="AD" clId="Web-{16FAA5D6-6A36-0584-138D-189589A7513B}" dt="2023-07-07T09:04:34.266" v="413" actId="20577"/>
          <ac:spMkLst>
            <pc:docMk/>
            <pc:sldMk cId="1741853253" sldId="5210"/>
            <ac:spMk id="3" creationId="{ECD2E793-6780-3EFA-D2E3-51D73481BD1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07/07/2023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07/07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2119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817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9587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65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59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/>
              <a:t>Click icon to add table</a:t>
            </a:r>
            <a:endParaRPr lang="en-US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46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2297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6184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220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358348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GB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image" Target="../media/image4.sv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US" noProof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805" r:id="rId6"/>
    <p:sldLayoutId id="2147483806" r:id="rId7"/>
    <p:sldLayoutId id="2147483807" r:id="rId8"/>
    <p:sldLayoutId id="2147483808" r:id="rId9"/>
    <p:sldLayoutId id="2147483809" r:id="rId10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proandroiddev.com/memory-leaks-in-reactive-android-programming-a4ad2b34466a" TargetMode="External"/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lsevier-research/scopustech-libraries" TargetMode="External"/><Relationship Id="rId2" Type="http://schemas.openxmlformats.org/officeDocument/2006/relationships/hyperlink" Target="https://github.com/elsevier-research/scopustech-document-search-service" TargetMode="External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spring.io/projects/spring-data-r2dbc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6FFE95-857D-443F-9741-F16873CE78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6263" y="1944888"/>
            <a:ext cx="4672244" cy="1594378"/>
          </a:xfrm>
        </p:spPr>
        <p:txBody>
          <a:bodyPr/>
          <a:lstStyle/>
          <a:p>
            <a:r>
              <a:rPr lang="en-US">
                <a:latin typeface="Avenir Next Condensed" panose="020B0506020202020204" pitchFamily="34" charset="0"/>
              </a:rPr>
              <a:t>Reactive</a:t>
            </a:r>
          </a:p>
          <a:p>
            <a:r>
              <a:rPr lang="en-US">
                <a:latin typeface="Avenir Next Condensed" panose="020B0506020202020204" pitchFamily="34" charset="0"/>
              </a:rPr>
              <a:t>Microservi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5A9C69-2B70-4D21-8181-7BEA5F9061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latin typeface="Avenir Next Condensed" panose="020B0506020202020204" pitchFamily="34" charset="0"/>
              </a:rPr>
              <a:t>Scopus</a:t>
            </a:r>
          </a:p>
          <a:p>
            <a:endParaRPr lang="en-US">
              <a:latin typeface="Avenir Next Condensed" panose="020B0506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EF59B5-EA4E-470E-8DEC-000D994C09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355450" y="25285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86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B305978-C263-D603-609E-9D9FA56A463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/>
            <a:endParaRPr lang="en-NL" sz="2000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NL" sz="2000">
                <a:latin typeface="Avenir Next Condensed" panose="020B0506020202020204" pitchFamily="34" charset="0"/>
              </a:rPr>
              <a:t>New programming paradigm</a:t>
            </a:r>
          </a:p>
          <a:p>
            <a:pPr marL="287655" indent="-287655"/>
            <a:endParaRPr lang="en-NL" sz="2000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NL" sz="2000">
                <a:latin typeface="Avenir Next Condensed"/>
              </a:rPr>
              <a:t>Asynchronous and non-blocking</a:t>
            </a:r>
            <a:endParaRPr lang="en-NL" sz="2000">
              <a:latin typeface="Avenir Next Condensed" panose="020B0506020202020204" pitchFamily="34" charset="0"/>
            </a:endParaRPr>
          </a:p>
          <a:p>
            <a:pPr marL="287655" indent="-287655"/>
            <a:endParaRPr lang="en-NL" sz="2000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NL" sz="2000">
                <a:latin typeface="Avenir Next Condensed" panose="020B0506020202020204" pitchFamily="34" charset="0"/>
              </a:rPr>
              <a:t>Data flow as an event stream</a:t>
            </a:r>
          </a:p>
          <a:p>
            <a:pPr marL="287655" indent="-287655"/>
            <a:endParaRPr lang="en-NL" sz="2000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NL" sz="2000">
                <a:latin typeface="Avenir Next Condensed" panose="020B0506020202020204" pitchFamily="34" charset="0"/>
              </a:rPr>
              <a:t>Supports back pressure on data streams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55BCE6-5A0F-1063-97D6-E2DBD539E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NL" sz="2400">
                <a:latin typeface="Avenir Next Condensed" panose="020B0506020202020204" pitchFamily="34" charset="0"/>
              </a:rPr>
            </a:br>
            <a:r>
              <a:rPr lang="en-NL" sz="2400">
                <a:latin typeface="Avenir Next Condensed" panose="020B0506020202020204" pitchFamily="34" charset="0"/>
              </a:rPr>
              <a:t>What is Reactive programming ?</a:t>
            </a:r>
            <a:br>
              <a:rPr lang="en-NL" sz="2400">
                <a:latin typeface="Avenir Next Condensed" panose="020B0506020202020204" pitchFamily="34" charset="0"/>
              </a:rPr>
            </a:br>
            <a:endParaRPr lang="en-NL">
              <a:latin typeface="Avenir Next Condense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02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B866E-D613-46C8-CE0B-AAD99C8D29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263" y="1065514"/>
            <a:ext cx="7991475" cy="3436334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332EF43-B681-427C-B3D3-ACD1C14C9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NL">
                <a:latin typeface="Avenir Next Condensed" panose="020B0506020202020204" pitchFamily="34" charset="0"/>
              </a:rPr>
              <a:t>Reactive Stream Specification</a:t>
            </a:r>
          </a:p>
        </p:txBody>
      </p:sp>
    </p:spTree>
    <p:extLst>
      <p:ext uri="{BB962C8B-B14F-4D97-AF65-F5344CB8AC3E}">
        <p14:creationId xmlns:p14="http://schemas.microsoft.com/office/powerpoint/2010/main" val="245941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74CE56-3D7E-CFB4-4163-129F5718BF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263" y="955632"/>
            <a:ext cx="7991475" cy="3656099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332EF43-B681-427C-B3D3-ACD1C14C9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NL">
                <a:latin typeface="Avenir Next Condensed" panose="020B0506020202020204" pitchFamily="34" charset="0"/>
              </a:rPr>
              <a:t>Reactive Stream Specification</a:t>
            </a:r>
          </a:p>
        </p:txBody>
      </p:sp>
    </p:spTree>
    <p:extLst>
      <p:ext uri="{BB962C8B-B14F-4D97-AF65-F5344CB8AC3E}">
        <p14:creationId xmlns:p14="http://schemas.microsoft.com/office/powerpoint/2010/main" val="2530272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077C26-F47C-B5E7-1955-25D4603A0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263" y="902481"/>
            <a:ext cx="7458972" cy="3897313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332EF43-B681-427C-B3D3-ACD1C14C9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NL">
                <a:latin typeface="Avenir Next Condensed" panose="020B0506020202020204" pitchFamily="34" charset="0"/>
              </a:rPr>
              <a:t>Mono</a:t>
            </a:r>
          </a:p>
        </p:txBody>
      </p:sp>
    </p:spTree>
    <p:extLst>
      <p:ext uri="{BB962C8B-B14F-4D97-AF65-F5344CB8AC3E}">
        <p14:creationId xmlns:p14="http://schemas.microsoft.com/office/powerpoint/2010/main" val="384711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58F0D82-D64A-3B79-7EC8-CCC8657875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263" y="954946"/>
            <a:ext cx="7641790" cy="3897313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332EF43-B681-427C-B3D3-ACD1C14C9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NL">
                <a:latin typeface="Avenir Next Condensed" panose="020B0506020202020204" pitchFamily="34" charset="0"/>
              </a:rPr>
              <a:t>Flux</a:t>
            </a:r>
          </a:p>
        </p:txBody>
      </p:sp>
    </p:spTree>
    <p:extLst>
      <p:ext uri="{BB962C8B-B14F-4D97-AF65-F5344CB8AC3E}">
        <p14:creationId xmlns:p14="http://schemas.microsoft.com/office/powerpoint/2010/main" val="305836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11 The better assembly line analogy (Reactive programming with Java - full  course) - YouTube">
            <a:extLst>
              <a:ext uri="{FF2B5EF4-FFF2-40B4-BE49-F238E27FC236}">
                <a16:creationId xmlns:a16="http://schemas.microsoft.com/office/drawing/2014/main" id="{83210EE9-A7BF-093B-AD9B-1FA3F5A2C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6263" y="954946"/>
            <a:ext cx="8035586" cy="3897313"/>
          </a:xfrm>
          <a:prstGeom prst="rect">
            <a:avLst/>
          </a:prstGeo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C55BCE6-5A0F-1063-97D6-E2DBD539EB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NL">
                <a:latin typeface="Avenir Next Condensed" panose="020B0506020202020204" pitchFamily="34" charset="0"/>
              </a:rPr>
              <a:t>Assembly Line Analogy</a:t>
            </a:r>
          </a:p>
        </p:txBody>
      </p:sp>
    </p:spTree>
    <p:extLst>
      <p:ext uri="{BB962C8B-B14F-4D97-AF65-F5344CB8AC3E}">
        <p14:creationId xmlns:p14="http://schemas.microsoft.com/office/powerpoint/2010/main" val="9492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C42358-7CEF-69ED-911F-94C4624304F7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/>
            <a:r>
              <a:rPr lang="en-US">
                <a:cs typeface="Arial"/>
              </a:rPr>
              <a:t>Can do more with less – higher performance can allow to consume less resources and reduce cost</a:t>
            </a:r>
          </a:p>
          <a:p>
            <a:pPr marL="287655" indent="-287655"/>
            <a:r>
              <a:rPr lang="en-US">
                <a:cs typeface="Arial"/>
              </a:rPr>
              <a:t>Allows to process requests at higher capacity</a:t>
            </a:r>
          </a:p>
          <a:p>
            <a:pPr marL="287655" indent="-287655"/>
            <a:r>
              <a:rPr lang="en-US">
                <a:cs typeface="Arial"/>
              </a:rPr>
              <a:t>Seamless multithreading</a:t>
            </a:r>
          </a:p>
          <a:p>
            <a:pPr marL="287655" indent="-287655"/>
            <a:r>
              <a:rPr lang="en-US">
                <a:cs typeface="Arial"/>
              </a:rPr>
              <a:t>With proper use leads to cleaner code which is easier to read</a:t>
            </a:r>
          </a:p>
          <a:p>
            <a:pPr marL="287655" indent="-287655"/>
            <a:r>
              <a:rPr lang="en-US">
                <a:cs typeface="Arial"/>
              </a:rPr>
              <a:t>Error handling becomes more organic</a:t>
            </a:r>
            <a:endParaRPr lang="en-US"/>
          </a:p>
          <a:p>
            <a:pPr marL="287655" indent="-287655"/>
            <a:r>
              <a:rPr lang="en-US">
                <a:cs typeface="Arial"/>
              </a:rPr>
              <a:t>Event driven by design works better with Kafka, RabbitMQ, etc.</a:t>
            </a:r>
          </a:p>
          <a:p>
            <a:pPr marL="467995" lvl="1" indent="-179705"/>
            <a:endParaRPr lang="en-US">
              <a:cs typeface="Arial"/>
            </a:endParaRPr>
          </a:p>
          <a:p>
            <a:pPr marL="287655" indent="-287655"/>
            <a:endParaRPr lang="en-US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D7E54E-F742-CF14-E61C-1604BA836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Advantag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6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D6CE114-5FB3-32F5-55A9-42F5A2F1E74B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/>
            <a:r>
              <a:rPr lang="en-US">
                <a:cs typeface="Arial"/>
              </a:rPr>
              <a:t>Steep learning curve that requires mindset change</a:t>
            </a:r>
          </a:p>
          <a:p>
            <a:pPr marL="287655" indent="-287655"/>
            <a:r>
              <a:rPr lang="en-US">
                <a:cs typeface="Arial"/>
              </a:rPr>
              <a:t>As multithreading is implied you might forget to account for it</a:t>
            </a:r>
          </a:p>
          <a:p>
            <a:pPr marL="287655" indent="-287655"/>
            <a:r>
              <a:rPr lang="en-US">
                <a:cs typeface="Arial"/>
              </a:rPr>
              <a:t>Some coding mistakes can lead to a memory leak. Example from Android, but illustrates the issue: </a:t>
            </a:r>
            <a:r>
              <a:rPr lang="en-US">
                <a:ea typeface="+mn-lt"/>
                <a:cs typeface="+mn-lt"/>
                <a:hlinkClick r:id="rId2"/>
              </a:rPr>
              <a:t>https://proandroiddev.com/memory-leaks-in-reactive-android-programming-a4ad2b34466a</a:t>
            </a:r>
            <a:endParaRPr lang="en-US">
              <a:cs typeface="Arial"/>
            </a:endParaRPr>
          </a:p>
          <a:p>
            <a:pPr marL="287655" indent="-287655"/>
            <a:r>
              <a:rPr lang="en-US">
                <a:cs typeface="Arial"/>
              </a:rPr>
              <a:t>Debugging becomes tricky</a:t>
            </a:r>
          </a:p>
          <a:p>
            <a:pPr marL="287655" indent="-287655"/>
            <a:endParaRPr lang="en-US">
              <a:cs typeface="Arial"/>
            </a:endParaRPr>
          </a:p>
          <a:p>
            <a:pPr marL="287655" indent="-287655"/>
            <a:endParaRPr lang="en-US">
              <a:cs typeface="Arial"/>
            </a:endParaRPr>
          </a:p>
          <a:p>
            <a:pPr marL="287655" indent="-287655"/>
            <a:endParaRPr lang="en-US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CD2E793-6780-3EFA-D2E3-51D73481B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Disadvantag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85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D4DB2-2C7D-F3A5-00FF-A1124F5DD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NL">
                <a:latin typeface="Avenir Next Condensed" panose="020B0506020202020204" pitchFamily="34" charset="0"/>
              </a:rPr>
              <a:t>When to use Reactive Desig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B305978-C263-D603-609E-9D9FA56A463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/>
            <a:endParaRPr lang="en-NL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NL">
                <a:latin typeface="Avenir Next Condensed"/>
              </a:rPr>
              <a:t>High data scale</a:t>
            </a:r>
          </a:p>
          <a:p>
            <a:pPr marL="287655" indent="-287655"/>
            <a:endParaRPr lang="en-NL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NL">
                <a:latin typeface="Avenir Next Condensed"/>
              </a:rPr>
              <a:t>High usage scale</a:t>
            </a:r>
          </a:p>
          <a:p>
            <a:pPr marL="287655" indent="-287655"/>
            <a:endParaRPr lang="en-NL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NL">
                <a:latin typeface="Avenir Next Condensed"/>
              </a:rPr>
              <a:t>Cloud based costs</a:t>
            </a:r>
          </a:p>
          <a:p>
            <a:pPr marL="287655" indent="-287655"/>
            <a:endParaRPr lang="en-NL">
              <a:latin typeface="Avenir Next Condensed"/>
            </a:endParaRPr>
          </a:p>
          <a:p>
            <a:pPr marL="287655" indent="-287655"/>
            <a:r>
              <a:rPr lang="en-NL">
                <a:latin typeface="Avenir Next Condensed"/>
              </a:rPr>
              <a:t>Event-driven systems or systems using streams (e.g. Kafka)</a:t>
            </a:r>
            <a:endParaRPr lang="en-NL">
              <a:latin typeface="Avenir Next Condense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78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D4DB2-2C7D-F3A5-00FF-A1124F5DD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NL">
                <a:latin typeface="Avenir Next Condensed" panose="020B0506020202020204" pitchFamily="34" charset="0"/>
              </a:rPr>
              <a:t>References in Scopus to implement reactive desig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B305978-C263-D603-609E-9D9FA56A463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/>
            <a:endParaRPr lang="en-NL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NL" dirty="0">
                <a:latin typeface="Avenir Next Condensed"/>
              </a:rPr>
              <a:t>Document Search microservice : </a:t>
            </a:r>
            <a:r>
              <a:rPr lang="en-GB" dirty="0">
                <a:latin typeface="Avenir Next Condensed"/>
                <a:hlinkClick r:id="rId2"/>
              </a:rPr>
              <a:t>https://github.com/elsevier-research/scopustech-document-search-service</a:t>
            </a:r>
            <a:endParaRPr lang="en-GB" dirty="0">
              <a:latin typeface="Avenir Next Condensed"/>
            </a:endParaRPr>
          </a:p>
          <a:p>
            <a:pPr marL="287655" indent="-287655"/>
            <a:endParaRPr lang="en-GB">
              <a:latin typeface="Avenir Next Condensed" panose="020B0506020202020204" pitchFamily="34" charset="0"/>
            </a:endParaRPr>
          </a:p>
          <a:p>
            <a:pPr marL="287655" indent="-287655"/>
            <a:r>
              <a:rPr lang="en-GB" dirty="0">
                <a:latin typeface="Avenir Next Condensed"/>
              </a:rPr>
              <a:t>Scopus Libraries : </a:t>
            </a:r>
            <a:r>
              <a:rPr lang="en-GB" dirty="0">
                <a:latin typeface="Avenir Next Condensed"/>
                <a:hlinkClick r:id="rId3"/>
              </a:rPr>
              <a:t>https://github.com/elsevier-research/scopustech-libraries</a:t>
            </a:r>
            <a:endParaRPr lang="en-GB" dirty="0">
              <a:latin typeface="Avenir Next Condensed"/>
            </a:endParaRPr>
          </a:p>
          <a:p>
            <a:pPr marL="467995" lvl="1" indent="-179705"/>
            <a:r>
              <a:rPr lang="en-GB" dirty="0">
                <a:latin typeface="Avenir Next Condensed"/>
              </a:rPr>
              <a:t>For request header authorization : </a:t>
            </a:r>
            <a:r>
              <a:rPr lang="en-GB" dirty="0" err="1">
                <a:latin typeface="Avenir Next Condensed"/>
              </a:rPr>
              <a:t>scopus</a:t>
            </a:r>
            <a:r>
              <a:rPr lang="en-GB" dirty="0">
                <a:latin typeface="Avenir Next Condensed"/>
              </a:rPr>
              <a:t>-service-authorization-reactive</a:t>
            </a:r>
          </a:p>
          <a:p>
            <a:pPr marL="467995" lvl="1" indent="-179705"/>
            <a:r>
              <a:rPr lang="en-GB" dirty="0">
                <a:latin typeface="Avenir Next Condensed"/>
              </a:rPr>
              <a:t>For adding trace ids in logs : </a:t>
            </a:r>
            <a:r>
              <a:rPr lang="en-GB" dirty="0" err="1">
                <a:latin typeface="Avenir Next Condensed"/>
              </a:rPr>
              <a:t>scopus</a:t>
            </a:r>
            <a:r>
              <a:rPr lang="en-GB" dirty="0">
                <a:latin typeface="Avenir Next Condensed"/>
              </a:rPr>
              <a:t>-log-tracing-reactive</a:t>
            </a:r>
          </a:p>
          <a:p>
            <a:pPr marL="467995" lvl="1" indent="-179705"/>
            <a:r>
              <a:rPr lang="en-GB" dirty="0">
                <a:latin typeface="Avenir Next Condensed"/>
              </a:rPr>
              <a:t>For </a:t>
            </a:r>
            <a:r>
              <a:rPr lang="en-GB" dirty="0" err="1">
                <a:latin typeface="Avenir Next Condensed"/>
              </a:rPr>
              <a:t>Oauth</a:t>
            </a:r>
            <a:r>
              <a:rPr lang="en-GB" dirty="0">
                <a:latin typeface="Avenir Next Condensed"/>
              </a:rPr>
              <a:t> calls support : </a:t>
            </a:r>
            <a:r>
              <a:rPr lang="en-GB" dirty="0" err="1">
                <a:latin typeface="Avenir Next Condensed"/>
              </a:rPr>
              <a:t>scopus</a:t>
            </a:r>
            <a:r>
              <a:rPr lang="en-GB" dirty="0">
                <a:latin typeface="Avenir Next Condensed"/>
              </a:rPr>
              <a:t>-</a:t>
            </a:r>
            <a:r>
              <a:rPr lang="en-GB" dirty="0" err="1">
                <a:latin typeface="Avenir Next Condensed"/>
              </a:rPr>
              <a:t>oauth</a:t>
            </a:r>
            <a:r>
              <a:rPr lang="en-GB" dirty="0">
                <a:latin typeface="Avenir Next Condensed"/>
              </a:rPr>
              <a:t>-library-reactive</a:t>
            </a:r>
          </a:p>
          <a:p>
            <a:pPr marL="467995" lvl="1" indent="-179705"/>
            <a:r>
              <a:rPr lang="en-GB" dirty="0">
                <a:latin typeface="Avenir Next Condensed"/>
              </a:rPr>
              <a:t>For Feign Client library : </a:t>
            </a:r>
            <a:r>
              <a:rPr lang="en-GB" dirty="0" err="1">
                <a:latin typeface="Avenir Next Condensed"/>
              </a:rPr>
              <a:t>scopus</a:t>
            </a:r>
            <a:r>
              <a:rPr lang="en-GB" dirty="0">
                <a:latin typeface="Avenir Next Condensed"/>
              </a:rPr>
              <a:t>-search-service-client-reactive</a:t>
            </a:r>
            <a:endParaRPr lang="en-GB" dirty="0">
              <a:latin typeface="Avenir Next Condensed" panose="020B0506020202020204" pitchFamily="34" charset="0"/>
            </a:endParaRPr>
          </a:p>
          <a:p>
            <a:pPr marL="467995" lvl="1" indent="-179705"/>
            <a:r>
              <a:rPr lang="en-GB" dirty="0">
                <a:latin typeface="Avenir Next Condensed"/>
              </a:rPr>
              <a:t>Spring Data reactive : </a:t>
            </a:r>
            <a:r>
              <a:rPr lang="en-GB" dirty="0">
                <a:latin typeface="Avenir Next Condensed"/>
                <a:ea typeface="+mn-lt"/>
                <a:cs typeface="+mn-lt"/>
                <a:hlinkClick r:id="rId4"/>
              </a:rPr>
              <a:t>https://spring.io/projects/spring-data-r2dbc</a:t>
            </a:r>
            <a:r>
              <a:rPr lang="en-GB" dirty="0">
                <a:latin typeface="Avenir Next Condensed"/>
                <a:ea typeface="+mn-lt"/>
                <a:cs typeface="+mn-lt"/>
              </a:rPr>
              <a:t>,  https://spring.io/blog/2016/11/28/going-reactive-with-spring-data</a:t>
            </a:r>
            <a:br>
              <a:rPr lang="en-GB" dirty="0">
                <a:latin typeface="Avenir Next Condensed"/>
              </a:rPr>
            </a:br>
            <a:endParaRPr lang="en-GB">
              <a:latin typeface="Avenir Next Condensed" panose="020B0506020202020204" pitchFamily="34" charset="0"/>
            </a:endParaRPr>
          </a:p>
          <a:p>
            <a:pPr marL="467995" lvl="1" indent="-179705"/>
            <a:endParaRPr lang="en-NL">
              <a:latin typeface="Avenir Next Condense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6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7EA6C56F-23DF-EAF9-7298-FD19DEE4B37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6263" y="835026"/>
            <a:ext cx="7991475" cy="3897312"/>
          </a:xfrm>
        </p:spPr>
        <p:txBody>
          <a:bodyPr vert="horz" lIns="0" tIns="0" rIns="0" bIns="0" rtlCol="0" anchor="t">
            <a:normAutofit fontScale="92500" lnSpcReduction="20000"/>
          </a:bodyPr>
          <a:lstStyle/>
          <a:p>
            <a:pPr marL="287655" indent="-287655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b="0" i="0">
              <a:effectLst/>
              <a:latin typeface="Avenir Next Condensed" panose="020B0506020202020204" pitchFamily="34" charset="0"/>
            </a:endParaRPr>
          </a:p>
          <a:p>
            <a:pPr marL="287655" indent="-28765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b="0" i="0">
                <a:effectLst/>
                <a:latin typeface="Avenir Next Condensed"/>
              </a:rPr>
              <a:t>Traditional way of Spring-Web application and its limitation</a:t>
            </a:r>
          </a:p>
          <a:p>
            <a:pPr marL="287655" indent="-287655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>
              <a:latin typeface="Avenir Next Condensed" panose="020B0506020202020204" pitchFamily="34" charset="0"/>
            </a:endParaRPr>
          </a:p>
          <a:p>
            <a:pPr marL="287655" indent="-287655">
              <a:lnSpc>
                <a:spcPct val="90000"/>
              </a:lnSpc>
            </a:pPr>
            <a:r>
              <a:rPr lang="en-GB">
                <a:latin typeface="Avenir Next Condensed"/>
              </a:rPr>
              <a:t> Nonblocking approach</a:t>
            </a:r>
            <a:endParaRPr lang="en-GB" b="0" i="0">
              <a:effectLst/>
              <a:latin typeface="Avenir Next Condensed"/>
            </a:endParaRPr>
          </a:p>
          <a:p>
            <a:pPr marL="287655" indent="-287655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b="0" i="0">
              <a:effectLst/>
              <a:latin typeface="Avenir Next Condensed" panose="020B0506020202020204" pitchFamily="34" charset="0"/>
            </a:endParaRPr>
          </a:p>
          <a:p>
            <a:pPr marL="287655" indent="-287655">
              <a:lnSpc>
                <a:spcPct val="90000"/>
              </a:lnSpc>
            </a:pPr>
            <a:r>
              <a:rPr lang="en-GB">
                <a:latin typeface="Avenir Next Condensed"/>
              </a:rPr>
              <a:t> </a:t>
            </a:r>
            <a:r>
              <a:rPr lang="en-GB" b="0" i="0">
                <a:effectLst/>
                <a:latin typeface="Avenir Next Condensed"/>
              </a:rPr>
              <a:t>Understanding reactive programming</a:t>
            </a:r>
            <a:endParaRPr lang="en-GB">
              <a:latin typeface="Avenir Next Condensed"/>
            </a:endParaRPr>
          </a:p>
          <a:p>
            <a:pPr marL="647700" lvl="2" indent="-17970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800">
                <a:latin typeface="Avenir Next Condensed"/>
              </a:rPr>
              <a:t> </a:t>
            </a:r>
            <a:r>
              <a:rPr lang="en-GB" sz="1800" b="0" i="0">
                <a:effectLst/>
                <a:latin typeface="Avenir Next Condensed"/>
              </a:rPr>
              <a:t>Publisher, Subscriber, Subscription</a:t>
            </a:r>
          </a:p>
          <a:p>
            <a:pPr marL="647700" lvl="2" indent="-17970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800">
                <a:latin typeface="Avenir Next Condensed"/>
              </a:rPr>
              <a:t> </a:t>
            </a:r>
            <a:r>
              <a:rPr lang="en-GB" sz="1800" b="0" i="0">
                <a:effectLst/>
                <a:latin typeface="Avenir Next Condensed"/>
              </a:rPr>
              <a:t>Mono &amp; Flux</a:t>
            </a:r>
          </a:p>
          <a:p>
            <a:pPr marL="287655" indent="-287655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b="0" i="0">
              <a:effectLst/>
              <a:latin typeface="Avenir Next Condensed" panose="020B0506020202020204" pitchFamily="34" charset="0"/>
            </a:endParaRPr>
          </a:p>
          <a:p>
            <a:pPr marL="287655" indent="-287655">
              <a:lnSpc>
                <a:spcPct val="90000"/>
              </a:lnSpc>
            </a:pPr>
            <a:r>
              <a:rPr lang="en-GB">
                <a:latin typeface="Avenir Next Condensed"/>
              </a:rPr>
              <a:t> Advantages, Disadvantages, when</a:t>
            </a:r>
            <a:r>
              <a:rPr lang="en-GB" b="0" i="0">
                <a:effectLst/>
                <a:latin typeface="Avenir Next Condensed"/>
              </a:rPr>
              <a:t> to use Reactive Design</a:t>
            </a:r>
          </a:p>
          <a:p>
            <a:pPr marL="287655" indent="-287655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b="0" i="0">
              <a:effectLst/>
              <a:latin typeface="Avenir Next Condensed" panose="020B0506020202020204" pitchFamily="34" charset="0"/>
            </a:endParaRPr>
          </a:p>
          <a:p>
            <a:pPr marL="287655" indent="-287655">
              <a:lnSpc>
                <a:spcPct val="90000"/>
              </a:lnSpc>
            </a:pPr>
            <a:r>
              <a:rPr lang="en-GB">
                <a:latin typeface="Avenir Next Condensed"/>
              </a:rPr>
              <a:t>References for reactive microservices in Scopus</a:t>
            </a:r>
          </a:p>
          <a:p>
            <a:pPr marL="287655" indent="-287655">
              <a:lnSpc>
                <a:spcPct val="90000"/>
              </a:lnSpc>
            </a:pPr>
            <a:endParaRPr lang="en-GB">
              <a:latin typeface="Avenir Next Condensed"/>
            </a:endParaRPr>
          </a:p>
          <a:p>
            <a:pPr marL="287655" indent="-287655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>
                <a:latin typeface="Avenir Next Condensed"/>
              </a:rPr>
              <a:t>Hands-On</a:t>
            </a:r>
            <a:endParaRPr lang="en-GB"/>
          </a:p>
          <a:p>
            <a:pPr marL="0" indent="0">
              <a:lnSpc>
                <a:spcPct val="90000"/>
              </a:lnSpc>
              <a:buNone/>
            </a:pPr>
            <a:endParaRPr lang="en-GB">
              <a:latin typeface="Avenir Next Condensed" panose="020B0506020202020204" pitchFamily="34" charset="0"/>
            </a:endParaRPr>
          </a:p>
          <a:p>
            <a:pPr marL="287655" indent="-287655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b="0" i="0">
              <a:effectLst/>
              <a:latin typeface="Avenir Next Condensed" panose="020B0506020202020204" pitchFamily="34" charset="0"/>
            </a:endParaRPr>
          </a:p>
          <a:p>
            <a:pPr marL="287655" indent="-287655">
              <a:lnSpc>
                <a:spcPct val="90000"/>
              </a:lnSpc>
            </a:pPr>
            <a:endParaRPr lang="en-US">
              <a:latin typeface="Avenir Next Condensed" panose="020B0506020202020204" pitchFamily="34" charset="0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550C7728-92E3-5DF1-E243-BD22F2301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US">
                <a:latin typeface="Avenir Next Condensed" panose="020B0506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6253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DD1A47A-EDEC-4BF4-8FD5-593FE70E8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4781471"/>
          </a:xfrm>
        </p:spPr>
        <p:txBody>
          <a:bodyPr anchor="ctr">
            <a:normAutofit/>
          </a:bodyPr>
          <a:lstStyle/>
          <a:p>
            <a:pPr algn="ctr"/>
            <a:r>
              <a:rPr lang="en-US" sz="6000">
                <a:latin typeface="Avenir Next Condensed" panose="020B0506020202020204" pitchFamily="34" charset="0"/>
              </a:rPr>
              <a:t>Hands-On</a:t>
            </a:r>
            <a:br>
              <a:rPr lang="en-US" sz="6000">
                <a:latin typeface="Avenir Next Condensed" panose="020B0506020202020204" pitchFamily="34" charset="0"/>
              </a:rPr>
            </a:br>
            <a:br>
              <a:rPr lang="en-US" sz="6000">
                <a:latin typeface="Avenir Next Condensed" panose="020B0506020202020204" pitchFamily="34" charset="0"/>
              </a:rPr>
            </a:br>
            <a:r>
              <a:rPr lang="en-US" sz="2000">
                <a:latin typeface="Avenir Next Condensed" panose="020B0506020202020204" pitchFamily="34" charset="0"/>
              </a:rPr>
              <a:t>https://</a:t>
            </a:r>
            <a:r>
              <a:rPr lang="en-US" sz="2000" err="1">
                <a:latin typeface="Avenir Next Condensed" panose="020B0506020202020204" pitchFamily="34" charset="0"/>
              </a:rPr>
              <a:t>github.com</a:t>
            </a:r>
            <a:r>
              <a:rPr lang="en-US" sz="2000">
                <a:latin typeface="Avenir Next Condensed" panose="020B0506020202020204" pitchFamily="34" charset="0"/>
              </a:rPr>
              <a:t>/</a:t>
            </a:r>
            <a:r>
              <a:rPr lang="en-US" sz="2000" err="1">
                <a:latin typeface="Avenir Next Condensed" panose="020B0506020202020204" pitchFamily="34" charset="0"/>
              </a:rPr>
              <a:t>elsevier</a:t>
            </a:r>
            <a:r>
              <a:rPr lang="en-US" sz="2000">
                <a:latin typeface="Avenir Next Condensed" panose="020B0506020202020204" pitchFamily="34" charset="0"/>
              </a:rPr>
              <a:t>-research/</a:t>
            </a:r>
            <a:r>
              <a:rPr lang="en-US" sz="2000" err="1">
                <a:latin typeface="Avenir Next Condensed" panose="020B0506020202020204" pitchFamily="34" charset="0"/>
              </a:rPr>
              <a:t>scopustech</a:t>
            </a:r>
            <a:r>
              <a:rPr lang="en-US" sz="2000">
                <a:latin typeface="Avenir Next Condensed" panose="020B0506020202020204" pitchFamily="34" charset="0"/>
              </a:rPr>
              <a:t>-reactive-workshop</a:t>
            </a:r>
          </a:p>
        </p:txBody>
      </p:sp>
    </p:spTree>
    <p:extLst>
      <p:ext uri="{BB962C8B-B14F-4D97-AF65-F5344CB8AC3E}">
        <p14:creationId xmlns:p14="http://schemas.microsoft.com/office/powerpoint/2010/main" val="371393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6FFE95-857D-443F-9741-F16873CE78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latin typeface="Avenir Next Condensed" panose="020B0506020202020204" pitchFamily="34" charset="0"/>
              </a:rPr>
              <a:t>Ques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5A9C69-2B70-4D21-8181-7BEA5F9061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EF59B5-EA4E-470E-8DEC-000D994C09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355450" y="25285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3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7AC9F1E-8AB8-049D-0C0E-2B63C97082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8233" y="845749"/>
            <a:ext cx="4944584" cy="3462726"/>
          </a:xfrm>
          <a:prstGeom prst="rect">
            <a:avLst/>
          </a:prstGeom>
          <a:noFill/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AF0899-62D9-A87F-E176-5FFB00AD80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835025"/>
            <a:ext cx="3279858" cy="3897313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US">
                <a:latin typeface="Avenir Next Condensed"/>
              </a:rPr>
              <a:t>How do we think ?</a:t>
            </a:r>
          </a:p>
          <a:p>
            <a:endParaRPr lang="en-US">
              <a:latin typeface="Avenir Next Condensed" panose="020B0506020202020204" pitchFamily="34" charset="0"/>
            </a:endParaRPr>
          </a:p>
          <a:p>
            <a:r>
              <a:rPr lang="en-US">
                <a:latin typeface="Avenir Next Condensed"/>
              </a:rPr>
              <a:t>It's a single request</a:t>
            </a:r>
          </a:p>
          <a:p>
            <a:r>
              <a:rPr lang="en-US">
                <a:latin typeface="Avenir Next Condensed"/>
              </a:rPr>
              <a:t>Multiple simultaneous users abstracted out</a:t>
            </a:r>
          </a:p>
          <a:p>
            <a:r>
              <a:rPr lang="en-US">
                <a:latin typeface="Avenir Next Condensed"/>
              </a:rPr>
              <a:t>Delays abstracted out</a:t>
            </a:r>
          </a:p>
          <a:p>
            <a:pPr marL="0" indent="0">
              <a:buNone/>
            </a:pPr>
            <a:endParaRPr lang="en-US">
              <a:latin typeface="Avenir Next Condensed" panose="020B0506020202020204" pitchFamily="34" charset="0"/>
            </a:endParaRPr>
          </a:p>
          <a:p>
            <a:pPr marL="0" indent="0">
              <a:buNone/>
            </a:pPr>
            <a:r>
              <a:rPr lang="en-US">
                <a:latin typeface="Avenir Next Condensed"/>
              </a:rPr>
              <a:t>At what cost ?</a:t>
            </a:r>
          </a:p>
          <a:p>
            <a:pPr marL="0" indent="0">
              <a:buNone/>
            </a:pPr>
            <a:endParaRPr lang="en-US">
              <a:latin typeface="Avenir Next Condensed" panose="020B0506020202020204" pitchFamily="34" charset="0"/>
            </a:endParaRPr>
          </a:p>
          <a:p>
            <a:r>
              <a:rPr lang="en-US">
                <a:latin typeface="Avenir Next Condensed"/>
              </a:rPr>
              <a:t>We pay with sequential blocking operations</a:t>
            </a:r>
          </a:p>
          <a:p>
            <a:r>
              <a:rPr lang="en-US">
                <a:latin typeface="Avenir Next Condensed"/>
              </a:rPr>
              <a:t>We pay with idling threa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EEBD35-8D31-9146-9D9B-CB790A9C4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GB" sz="2200" b="0" i="0">
                <a:effectLst/>
                <a:latin typeface="Avenir Next Condensed" panose="020B0506020202020204" pitchFamily="34" charset="0"/>
              </a:rPr>
              <a:t>Traditional way of Spring-Web application and its limitation</a:t>
            </a:r>
          </a:p>
        </p:txBody>
      </p:sp>
    </p:spTree>
    <p:extLst>
      <p:ext uri="{BB962C8B-B14F-4D97-AF65-F5344CB8AC3E}">
        <p14:creationId xmlns:p14="http://schemas.microsoft.com/office/powerpoint/2010/main" val="169834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76FCD37-5F19-39F0-3AF3-84A4331D69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263" y="1242672"/>
            <a:ext cx="7772400" cy="1926328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3D766DF-086A-5765-F50D-9A81491BE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>
                <a:latin typeface="Avenir Next Condensed" panose="020B0506020202020204" pitchFamily="34" charset="0"/>
              </a:rPr>
              <a:t>Guess the issue ?</a:t>
            </a:r>
          </a:p>
        </p:txBody>
      </p:sp>
    </p:spTree>
    <p:extLst>
      <p:ext uri="{BB962C8B-B14F-4D97-AF65-F5344CB8AC3E}">
        <p14:creationId xmlns:p14="http://schemas.microsoft.com/office/powerpoint/2010/main" val="109939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DD1A47A-EDEC-4BF4-8FD5-593FE70E8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4781471"/>
          </a:xfrm>
        </p:spPr>
        <p:txBody>
          <a:bodyPr anchor="ctr">
            <a:normAutofit/>
          </a:bodyPr>
          <a:lstStyle/>
          <a:p>
            <a:pPr algn="ctr"/>
            <a:r>
              <a:rPr lang="en-US" sz="4000">
                <a:latin typeface="Avenir Next Condensed" panose="020B0506020202020204" pitchFamily="34" charset="0"/>
              </a:rPr>
              <a:t>What about concurrency APIs ?</a:t>
            </a:r>
          </a:p>
        </p:txBody>
      </p:sp>
    </p:spTree>
    <p:extLst>
      <p:ext uri="{BB962C8B-B14F-4D97-AF65-F5344CB8AC3E}">
        <p14:creationId xmlns:p14="http://schemas.microsoft.com/office/powerpoint/2010/main" val="328358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BA63474-5B9E-E2D9-9A56-6146DD3EA1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5334" y="1157314"/>
            <a:ext cx="5062402" cy="2151520"/>
          </a:xfrm>
          <a:prstGeom prst="rect">
            <a:avLst/>
          </a:prstGeom>
          <a:noFill/>
          <a:effectLst>
            <a:outerShdw blurRad="50800" dist="38100" dir="2700000" sx="1000" sy="1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CCBB55D-5E68-4CF4-9FB2-F31594FF2502}"/>
              </a:ext>
            </a:extLst>
          </p:cNvPr>
          <p:cNvSpPr txBox="1"/>
          <p:nvPr/>
        </p:nvSpPr>
        <p:spPr>
          <a:xfrm>
            <a:off x="576264" y="835025"/>
            <a:ext cx="2641070" cy="3897313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marL="285750" marR="0" indent="-285750" defTabSz="685800" fontAlgn="auto"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Condensed" panose="020B0506020202020204" pitchFamily="34" charset="0"/>
            </a:endParaRPr>
          </a:p>
          <a:p>
            <a:pPr marL="285750" marR="0" indent="-285750" defTabSz="685800" fontAlgn="auto"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Condensed" panose="020B0506020202020204" pitchFamily="34" charset="0"/>
              </a:rPr>
              <a:t>Filters and Servlets are working synchronously</a:t>
            </a:r>
          </a:p>
          <a:p>
            <a:pPr marL="285750" marR="0" indent="-285750" defTabSz="685800" fontAlgn="auto"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Condensed" panose="020B0506020202020204" pitchFamily="34" charset="0"/>
            </a:endParaRPr>
          </a:p>
          <a:p>
            <a:pPr marL="285750" marR="0" indent="-285750" defTabSz="685800" fontAlgn="auto"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n-US" sz="1700">
                <a:solidFill>
                  <a:schemeClr val="bg1"/>
                </a:solidFill>
                <a:latin typeface="Avenir Next Condensed" panose="020B0506020202020204" pitchFamily="34" charset="0"/>
              </a:rPr>
              <a:t>I/O operations are still blocking</a:t>
            </a:r>
          </a:p>
          <a:p>
            <a:pPr marL="285750" marR="0" indent="-285750" defTabSz="685800" fontAlgn="auto"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endParaRPr lang="en-US" sz="1700">
              <a:solidFill>
                <a:schemeClr val="bg1"/>
              </a:solidFill>
              <a:latin typeface="Avenir Next Condensed" panose="020B0506020202020204" pitchFamily="34" charset="0"/>
            </a:endParaRPr>
          </a:p>
          <a:p>
            <a:pPr marL="285750" marR="0" indent="-285750" defTabSz="685800" fontAlgn="auto"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n-US" sz="1700">
                <a:solidFill>
                  <a:schemeClr val="bg1"/>
                </a:solidFill>
                <a:latin typeface="Avenir Next Condensed" panose="020B0506020202020204" pitchFamily="34" charset="0"/>
              </a:rPr>
              <a:t>No backpressure support (React to fast producers)</a:t>
            </a:r>
            <a:endParaRPr lang="en-US" sz="1700" b="0" kern="1200">
              <a:solidFill>
                <a:schemeClr val="bg1"/>
              </a:solidFill>
              <a:latin typeface="Avenir Next Condensed" panose="020B0506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D12471-3C1D-EA37-FA6C-5B35202AA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kern="1200">
                <a:latin typeface="Avenir Next Condensed" panose="020B0506020202020204" pitchFamily="34" charset="0"/>
              </a:rPr>
              <a:t>Java Concurrency APIs</a:t>
            </a:r>
          </a:p>
        </p:txBody>
      </p:sp>
    </p:spTree>
    <p:extLst>
      <p:ext uri="{BB962C8B-B14F-4D97-AF65-F5344CB8AC3E}">
        <p14:creationId xmlns:p14="http://schemas.microsoft.com/office/powerpoint/2010/main" val="3427816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53DADCD-3CF4-6D82-DFA3-AC735D75C2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9770" y="980980"/>
            <a:ext cx="4865167" cy="2853091"/>
          </a:xfrm>
          <a:prstGeom prst="rect">
            <a:avLst/>
          </a:prstGeom>
          <a:noFill/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DEE0E1-A415-5AA3-7439-847DAF0A8C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0280" y="959835"/>
            <a:ext cx="3478576" cy="3897313"/>
          </a:xfrm>
        </p:spPr>
        <p:txBody>
          <a:bodyPr vert="horz" lIns="0" tIns="0" rIns="0" bIns="0" rtlCol="0" anchor="t">
            <a:normAutofit lnSpcReduction="10000"/>
          </a:bodyPr>
          <a:lstStyle/>
          <a:p>
            <a:r>
              <a:rPr lang="en-GB">
                <a:latin typeface="Avenir Next Condensed"/>
              </a:rPr>
              <a:t>All requests are received on a unique socket</a:t>
            </a:r>
          </a:p>
          <a:p>
            <a:r>
              <a:rPr lang="en-GB">
                <a:latin typeface="Avenir Next Condensed" panose="020B0506020202020204" pitchFamily="34" charset="0"/>
              </a:rPr>
              <a:t>Event loop is associated with set of Sockets channel</a:t>
            </a:r>
          </a:p>
          <a:p>
            <a:r>
              <a:rPr lang="en-GB">
                <a:latin typeface="Avenir Next Condensed"/>
              </a:rPr>
              <a:t>Event loop goes through inbound channel handlers/</a:t>
            </a:r>
            <a:r>
              <a:rPr lang="en-GB" err="1">
                <a:latin typeface="Avenir Next Condensed"/>
              </a:rPr>
              <a:t>Webfilters</a:t>
            </a:r>
            <a:endParaRPr lang="en-GB">
              <a:latin typeface="Avenir Next Condensed"/>
            </a:endParaRPr>
          </a:p>
          <a:p>
            <a:r>
              <a:rPr lang="en-GB">
                <a:latin typeface="Avenir Next Condensed"/>
              </a:rPr>
              <a:t>Event loop delegates request to a worker thread</a:t>
            </a:r>
          </a:p>
          <a:p>
            <a:r>
              <a:rPr lang="en-GB">
                <a:latin typeface="Avenir Next Condensed"/>
              </a:rPr>
              <a:t>Worker thread puts back the response in task queue</a:t>
            </a:r>
          </a:p>
          <a:p>
            <a:r>
              <a:rPr lang="en-GB">
                <a:latin typeface="Avenir Next Condensed" panose="020B0506020202020204" pitchFamily="34" charset="0"/>
              </a:rPr>
              <a:t>Event loop polls the task and applies outbound channel handlers</a:t>
            </a:r>
          </a:p>
          <a:p>
            <a:r>
              <a:rPr lang="en-GB">
                <a:latin typeface="Avenir Next Condensed" panose="020B0506020202020204" pitchFamily="34" charset="0"/>
              </a:rPr>
              <a:t>Handles back the response to same socket. </a:t>
            </a:r>
            <a:endParaRPr lang="en-NL">
              <a:latin typeface="Avenir Next Condensed" panose="020B0506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32EF43-B681-427C-B3D3-ACD1C14C9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 anchor="ctr">
            <a:normAutofit/>
          </a:bodyPr>
          <a:lstStyle/>
          <a:p>
            <a:r>
              <a:rPr lang="en-NL">
                <a:latin typeface="Avenir Next Condensed" panose="020B0506020202020204" pitchFamily="34" charset="0"/>
              </a:rPr>
              <a:t>Non-Blocking approach with Worker Thread</a:t>
            </a:r>
          </a:p>
        </p:txBody>
      </p:sp>
    </p:spTree>
    <p:extLst>
      <p:ext uri="{BB962C8B-B14F-4D97-AF65-F5344CB8AC3E}">
        <p14:creationId xmlns:p14="http://schemas.microsoft.com/office/powerpoint/2010/main" val="3027788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EDD1A47A-EDEC-4BF4-8FD5-593FE70E8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4781471"/>
          </a:xfrm>
        </p:spPr>
        <p:txBody>
          <a:bodyPr anchor="ctr">
            <a:normAutofit/>
          </a:bodyPr>
          <a:lstStyle/>
          <a:p>
            <a:pPr algn="ctr"/>
            <a:r>
              <a:rPr lang="en-US" sz="6000">
                <a:latin typeface="Avenir Next Condensed" panose="020B0506020202020204" pitchFamily="34" charset="0"/>
              </a:rPr>
              <a:t>Still not perfect ?</a:t>
            </a:r>
          </a:p>
        </p:txBody>
      </p:sp>
    </p:spTree>
    <p:extLst>
      <p:ext uri="{BB962C8B-B14F-4D97-AF65-F5344CB8AC3E}">
        <p14:creationId xmlns:p14="http://schemas.microsoft.com/office/powerpoint/2010/main" val="253918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4A17157-066D-5990-5231-44205A29E2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433" y="835025"/>
            <a:ext cx="5066676" cy="2923082"/>
          </a:xfrm>
          <a:prstGeom prst="rect">
            <a:avLst/>
          </a:prstGeom>
          <a:noFill/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DEE0E1-A415-5AA3-7439-847DAF0A8C4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76264" y="835025"/>
            <a:ext cx="3201257" cy="3897313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>
                <a:latin typeface="Avenir Next Condensed" panose="020B0506020202020204" pitchFamily="34" charset="0"/>
              </a:rPr>
              <a:t>Worker threads work in a blocking fashion in the previous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700">
              <a:latin typeface="Avenir Next Condensed" panose="020B0506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>
                <a:latin typeface="Avenir Next Condensed" panose="020B0506020202020204" pitchFamily="34" charset="0"/>
              </a:rPr>
              <a:t>Adding an event loop/ task queue for I/O operations to use the worker thread efficient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700">
              <a:latin typeface="Avenir Next Condensed" panose="020B0506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>
                <a:latin typeface="Avenir Next Condensed" panose="020B0506020202020204" pitchFamily="34" charset="0"/>
              </a:rPr>
              <a:t>Using Spring </a:t>
            </a:r>
            <a:r>
              <a:rPr lang="en-GB" sz="1700" err="1">
                <a:latin typeface="Avenir Next Condensed" panose="020B0506020202020204" pitchFamily="34" charset="0"/>
              </a:rPr>
              <a:t>Webflux</a:t>
            </a:r>
            <a:r>
              <a:rPr lang="en-GB" sz="1700">
                <a:latin typeface="Avenir Next Condensed" panose="020B0506020202020204" pitchFamily="34" charset="0"/>
              </a:rPr>
              <a:t> and its libraries to support fully asynchronous, non-blocking chain</a:t>
            </a:r>
            <a:endParaRPr lang="en-NL" sz="1700">
              <a:latin typeface="Avenir Next Condensed" panose="020B0506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32EF43-B681-427C-B3D3-ACD1C14C9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 anchor="ctr">
            <a:normAutofit fontScale="90000"/>
          </a:bodyPr>
          <a:lstStyle/>
          <a:p>
            <a:r>
              <a:rPr lang="en-NL">
                <a:latin typeface="Avenir Next Condensed"/>
              </a:rPr>
              <a:t>Fully Non-Blocking approach</a:t>
            </a:r>
          </a:p>
        </p:txBody>
      </p:sp>
    </p:spTree>
    <p:extLst>
      <p:ext uri="{BB962C8B-B14F-4D97-AF65-F5344CB8AC3E}">
        <p14:creationId xmlns:p14="http://schemas.microsoft.com/office/powerpoint/2010/main" val="962955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1033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D9B95B7-7997-4FB9-A47B-A8D416D981DD}"/>
    </a:ext>
  </a:extLst>
</a:theme>
</file>

<file path=ppt/theme/theme2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1895935-4782-4ED3-9F2E-DA9302EF7568}"/>
    </a:ext>
  </a:extLst>
</a:theme>
</file>

<file path=ppt/theme/theme3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0B725E11-DC5A-4140-B411-6A18A3B7ACAE}"/>
    </a:ext>
  </a:extLst>
</a:theme>
</file>

<file path=ppt/theme/theme4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8CCF67CE-5720-4FD2-9BFE-20E687D7571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lsevier light</Template>
  <Application>Microsoft Office PowerPoint</Application>
  <PresentationFormat>On-screen Show (16:9)</PresentationFormat>
  <Slides>21</Slides>
  <Notes>5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Elsevier light</vt:lpstr>
      <vt:lpstr>Elsevier light - Charts and Data</vt:lpstr>
      <vt:lpstr>Elsevier dark</vt:lpstr>
      <vt:lpstr>Elsevier dark - Charts and Data</vt:lpstr>
      <vt:lpstr>PowerPoint Presentation</vt:lpstr>
      <vt:lpstr>Agenda</vt:lpstr>
      <vt:lpstr>Traditional way of Spring-Web application and its limitation</vt:lpstr>
      <vt:lpstr>Guess the issue ?</vt:lpstr>
      <vt:lpstr>What about concurrency APIs ?</vt:lpstr>
      <vt:lpstr>Java Concurrency APIs</vt:lpstr>
      <vt:lpstr>Non-Blocking approach with Worker Thread</vt:lpstr>
      <vt:lpstr>Still not perfect ?</vt:lpstr>
      <vt:lpstr>Fully Non-Blocking approach</vt:lpstr>
      <vt:lpstr> What is Reactive programming ? </vt:lpstr>
      <vt:lpstr>Reactive Stream Specification</vt:lpstr>
      <vt:lpstr>Reactive Stream Specification</vt:lpstr>
      <vt:lpstr>Mono</vt:lpstr>
      <vt:lpstr>Flux</vt:lpstr>
      <vt:lpstr>Assembly Line Analogy</vt:lpstr>
      <vt:lpstr>Advantages</vt:lpstr>
      <vt:lpstr>Disadvantages</vt:lpstr>
      <vt:lpstr>When to use Reactive Design</vt:lpstr>
      <vt:lpstr>References in Scopus to implement reactive design</vt:lpstr>
      <vt:lpstr>Hands-On  https://github.com/elsevier-research/scopustech-reactive-worksho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rav, Amey Dilip (ELS-AMS)</dc:creator>
  <cp:revision>13</cp:revision>
  <cp:lastPrinted>2018-07-23T12:36:44Z</cp:lastPrinted>
  <dcterms:created xsi:type="dcterms:W3CDTF">2023-06-13T11:17:42Z</dcterms:created>
  <dcterms:modified xsi:type="dcterms:W3CDTF">2023-07-07T15:1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3-06-13T11:20:08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103ec2dd-4835-4afd-94a7-b9e65f94fb90</vt:lpwstr>
  </property>
  <property fmtid="{D5CDD505-2E9C-101B-9397-08002B2CF9AE}" pid="9" name="MSIP_Label_549ac42a-3eb4-4074-b885-aea26bd6241e_ContentBits">
    <vt:lpwstr>0</vt:lpwstr>
  </property>
</Properties>
</file>